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3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15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5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/>
              <a:t>CREO PARAMETRIC – WELD DESIG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8038"/>
            <a:ext cx="11595100" cy="338137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ccurately define weld geometry and the associated weld fabrication documentation </a:t>
            </a:r>
          </a:p>
        </p:txBody>
      </p:sp>
      <p:pic>
        <p:nvPicPr>
          <p:cNvPr id="9" name="Picture 6" descr="weld_frame.png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screen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rcRect l="50896" t="1" r="5786" b="63672"/>
          <a:stretch/>
        </p:blipFill>
        <p:spPr bwMode="auto">
          <a:xfrm>
            <a:off x="9300801" y="1720943"/>
            <a:ext cx="2362200" cy="1272566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10" name="Picture 9" descr="weld_02.jpg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33933" y="2319166"/>
            <a:ext cx="2137396" cy="153050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11" name="Picture 10" descr="WingletWeldShot.jpg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9300801" y="3128292"/>
            <a:ext cx="2092431" cy="1571506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12" name="Picture 11" descr="mod_weld_value_02.jpg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 cstate="screen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</a:blip>
          <a:srcRect l="2363" t="29181" r="35108"/>
          <a:stretch/>
        </p:blipFill>
        <p:spPr>
          <a:xfrm>
            <a:off x="9300801" y="4834581"/>
            <a:ext cx="2092430" cy="161076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B853729-DAD2-4A01-BF75-4DD882B35970}"/>
              </a:ext>
            </a:extLst>
          </p:cNvPr>
          <p:cNvSpPr/>
          <p:nvPr/>
        </p:nvSpPr>
        <p:spPr>
          <a:xfrm>
            <a:off x="508542" y="1876677"/>
            <a:ext cx="1510147" cy="5246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32151D-5829-4B28-8BBA-8FB6F681D7CD}"/>
              </a:ext>
            </a:extLst>
          </p:cNvPr>
          <p:cNvSpPr/>
          <p:nvPr/>
        </p:nvSpPr>
        <p:spPr>
          <a:xfrm>
            <a:off x="2159397" y="1876677"/>
            <a:ext cx="5406057" cy="524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define and capture the weld fabrication process and manufacturing requirements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D446AB8-B2FF-4F73-9227-88D1A20631DE}"/>
              </a:ext>
            </a:extLst>
          </p:cNvPr>
          <p:cNvSpPr/>
          <p:nvPr/>
        </p:nvSpPr>
        <p:spPr>
          <a:xfrm>
            <a:off x="508542" y="2482464"/>
            <a:ext cx="1510147" cy="82093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C78768-F5CD-48CC-92F3-2E7D10DEDF0E}"/>
              </a:ext>
            </a:extLst>
          </p:cNvPr>
          <p:cNvSpPr/>
          <p:nvPr/>
        </p:nvSpPr>
        <p:spPr>
          <a:xfrm>
            <a:off x="2159397" y="2482464"/>
            <a:ext cx="5954573" cy="8209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to realize price premium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F82782-5A82-49C8-ADDC-EC0A7908984A}"/>
              </a:ext>
            </a:extLst>
          </p:cNvPr>
          <p:cNvSpPr/>
          <p:nvPr/>
        </p:nvSpPr>
        <p:spPr>
          <a:xfrm>
            <a:off x="508542" y="3384530"/>
            <a:ext cx="1510147" cy="6007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357497-5CDD-44C4-82AC-5A545834B1DF}"/>
              </a:ext>
            </a:extLst>
          </p:cNvPr>
          <p:cNvSpPr/>
          <p:nvPr/>
        </p:nvSpPr>
        <p:spPr>
          <a:xfrm>
            <a:off x="2159397" y="3384530"/>
            <a:ext cx="5954573" cy="6007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3D Weld definition (modeling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2D Weld documentation (detailing)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2903E42-B7E3-427E-B402-9FC2DFFB0DEF}"/>
              </a:ext>
            </a:extLst>
          </p:cNvPr>
          <p:cNvSpPr/>
          <p:nvPr/>
        </p:nvSpPr>
        <p:spPr>
          <a:xfrm>
            <a:off x="508542" y="4073511"/>
            <a:ext cx="1510147" cy="203134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203AF6-EC17-4BD4-9482-698C06058FC2}"/>
              </a:ext>
            </a:extLst>
          </p:cNvPr>
          <p:cNvSpPr/>
          <p:nvPr/>
        </p:nvSpPr>
        <p:spPr>
          <a:xfrm>
            <a:off x="2159398" y="4073511"/>
            <a:ext cx="5210114" cy="20313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3D welds are required to support downstream activities</a:t>
            </a:r>
          </a:p>
          <a:p>
            <a:pPr marL="344488" lvl="2" indent="-157163">
              <a:buSzPct val="90000"/>
              <a:buBlip>
                <a:blip r:embed="rId9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ference weld geometry to create accurate structural analyses </a:t>
            </a:r>
          </a:p>
          <a:p>
            <a:pPr marL="344488" lvl="2" indent="-157163">
              <a:buSzPct val="90000"/>
              <a:buBlip>
                <a:blip r:embed="rId9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Perform accurate mass properties and interference checking</a:t>
            </a:r>
          </a:p>
          <a:p>
            <a:pPr marL="344488" lvl="2" indent="-157163">
              <a:buSzPct val="90000"/>
              <a:buBlip>
                <a:blip r:embed="rId9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ccurately assess costs and time estimates  (manufacturing)</a:t>
            </a:r>
          </a:p>
          <a:p>
            <a:pPr marL="344488" lvl="2" indent="-157163">
              <a:buSzPct val="90000"/>
              <a:buBlip>
                <a:blip r:embed="rId9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ccurately create weld symbols and weld fabrication documentation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418AE51-2F56-4DF2-947D-A885CD49FC45}"/>
              </a:ext>
            </a:extLst>
          </p:cNvPr>
          <p:cNvCxnSpPr>
            <a:cxnSpLocks/>
          </p:cNvCxnSpPr>
          <p:nvPr/>
        </p:nvCxnSpPr>
        <p:spPr>
          <a:xfrm>
            <a:off x="2115674" y="1876677"/>
            <a:ext cx="0" cy="52465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81C090-6122-4DB8-8A1C-05DF7071A57A}"/>
              </a:ext>
            </a:extLst>
          </p:cNvPr>
          <p:cNvCxnSpPr>
            <a:cxnSpLocks/>
          </p:cNvCxnSpPr>
          <p:nvPr/>
        </p:nvCxnSpPr>
        <p:spPr>
          <a:xfrm>
            <a:off x="2115674" y="2482463"/>
            <a:ext cx="0" cy="82093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F5C912B-65C5-4467-8E9E-067BEEE17F1B}"/>
              </a:ext>
            </a:extLst>
          </p:cNvPr>
          <p:cNvCxnSpPr>
            <a:cxnSpLocks/>
          </p:cNvCxnSpPr>
          <p:nvPr/>
        </p:nvCxnSpPr>
        <p:spPr>
          <a:xfrm>
            <a:off x="2115674" y="3384529"/>
            <a:ext cx="0" cy="60079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5661B61-3889-4941-82E8-52322A68B0BF}"/>
              </a:ext>
            </a:extLst>
          </p:cNvPr>
          <p:cNvCxnSpPr>
            <a:cxnSpLocks/>
          </p:cNvCxnSpPr>
          <p:nvPr/>
        </p:nvCxnSpPr>
        <p:spPr>
          <a:xfrm>
            <a:off x="2115674" y="4073511"/>
            <a:ext cx="0" cy="203134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62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SGIF9ga4MZ6cpNrNnbXmUx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05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Wingdings</vt:lpstr>
      <vt:lpstr>Arial</vt:lpstr>
      <vt:lpstr>PTCRaleway</vt:lpstr>
      <vt:lpstr>PTCRaleway Black</vt:lpstr>
      <vt:lpstr>Arial Narrow</vt:lpstr>
      <vt:lpstr>PTC PowerPoint Template</vt:lpstr>
      <vt:lpstr>think-cell Slide</vt:lpstr>
      <vt:lpstr>CREO PARAMETRIC – WELD DESIG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3-10-13T09:5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